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5A5A5A"/>
    <a:srgbClr val="767676"/>
    <a:srgbClr val="B7B7B7"/>
    <a:srgbClr val="DCDCDC"/>
    <a:srgbClr val="8D8D8D"/>
    <a:srgbClr val="C60018"/>
    <a:srgbClr val="E5E5E5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6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9:51:00.663" v="15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9:51:00.663" v="15" actId="27918"/>
        <pc:sldMkLst>
          <pc:docMk/>
          <pc:sldMk cId="3865012081" sldId="415"/>
        </pc:sldMkLst>
        <pc:spChg chg="mod">
          <ac:chgData name="Weigel Stefan (PAR-EPS)" userId="fd3b2067-2981-4ad8-bf3a-d2e1004e4fa8" providerId="ADAL" clId="{A4CFA2F4-FF8D-446B-B271-6DF568DBEADA}" dt="2026-01-14T09:17:11.818" v="9" actId="1037"/>
          <ac:spMkLst>
            <pc:docMk/>
            <pc:sldMk cId="3865012081" sldId="415"/>
            <ac:spMk id="11" creationId="{45495507-A500-4876-A7D7-039B7559AD0C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14626622080055754"/>
          <c:w val="0.79430876353508262"/>
          <c:h val="0.60467252077202216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data!$C$8</c:f>
              <c:strCache>
                <c:ptCount val="1"/>
                <c:pt idx="0">
                  <c:v>EasyRide</c:v>
                </c:pt>
              </c:strCache>
            </c:strRef>
          </c:tx>
          <c:spPr>
            <a:solidFill>
              <a:schemeClr val="accent4">
                <a:lumMod val="90000"/>
              </a:schemeClr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.7301999999999997E-2</c:v>
                </c:pt>
                <c:pt idx="4">
                  <c:v>0.80418599999999996</c:v>
                </c:pt>
                <c:pt idx="5">
                  <c:v>3.9528020000000001</c:v>
                </c:pt>
                <c:pt idx="6">
                  <c:v>9.4050329999999995</c:v>
                </c:pt>
                <c:pt idx="7">
                  <c:v>17.491479000000002</c:v>
                </c:pt>
                <c:pt idx="8">
                  <c:v>23.327812000000002</c:v>
                </c:pt>
                <c:pt idx="9">
                  <c:v>31.141587000000001</c:v>
                </c:pt>
                <c:pt idx="10">
                  <c:v>39.209615999999997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0"/>
          <c:order val="1"/>
          <c:tx>
            <c:strRef>
              <c:f>data!$D$8</c:f>
              <c:strCache>
                <c:ptCount val="1"/>
                <c:pt idx="0">
                  <c:v>FFS.ch e Mobile FFS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0</c:formatCode>
                <c:ptCount val="11"/>
                <c:pt idx="0">
                  <c:v>17.974157000000002</c:v>
                </c:pt>
                <c:pt idx="1">
                  <c:v>24.389900000000001</c:v>
                </c:pt>
                <c:pt idx="2">
                  <c:v>32.353721</c:v>
                </c:pt>
                <c:pt idx="3">
                  <c:v>44.220541999999995</c:v>
                </c:pt>
                <c:pt idx="4">
                  <c:v>64.436859999999996</c:v>
                </c:pt>
                <c:pt idx="5">
                  <c:v>51.198005000000002</c:v>
                </c:pt>
                <c:pt idx="6">
                  <c:v>73.108429000000001</c:v>
                </c:pt>
                <c:pt idx="7">
                  <c:v>104.073866</c:v>
                </c:pt>
                <c:pt idx="8">
                  <c:v>126.675342</c:v>
                </c:pt>
                <c:pt idx="9">
                  <c:v>143.51680399999998</c:v>
                </c:pt>
                <c:pt idx="10">
                  <c:v>159.423482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2"/>
          <c:tx>
            <c:strRef>
              <c:f>data!$E$8</c:f>
              <c:strCache>
                <c:ptCount val="1"/>
                <c:pt idx="0">
                  <c:v>Distributori di biglietti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0</c:formatCode>
                <c:ptCount val="11"/>
                <c:pt idx="0">
                  <c:v>47.893855000000002</c:v>
                </c:pt>
                <c:pt idx="1">
                  <c:v>49.305990000000001</c:v>
                </c:pt>
                <c:pt idx="2">
                  <c:v>48.396062999999998</c:v>
                </c:pt>
                <c:pt idx="3">
                  <c:v>46.495206000000003</c:v>
                </c:pt>
                <c:pt idx="4">
                  <c:v>42.206930999999997</c:v>
                </c:pt>
                <c:pt idx="5">
                  <c:v>24.688984000000001</c:v>
                </c:pt>
                <c:pt idx="6">
                  <c:v>24.878795</c:v>
                </c:pt>
                <c:pt idx="7">
                  <c:v>28.877310000000001</c:v>
                </c:pt>
                <c:pt idx="8">
                  <c:v>27.097303</c:v>
                </c:pt>
                <c:pt idx="9">
                  <c:v>24.156610000000001</c:v>
                </c:pt>
                <c:pt idx="10">
                  <c:v>22.094785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4"/>
          <c:order val="3"/>
          <c:tx>
            <c:strRef>
              <c:f>data!$F$8</c:f>
              <c:strCache>
                <c:ptCount val="1"/>
                <c:pt idx="0">
                  <c:v>Centri viaggiatori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F$9:$F$19</c:f>
              <c:numCache>
                <c:formatCode>0</c:formatCode>
                <c:ptCount val="11"/>
                <c:pt idx="0">
                  <c:v>19.757598999999999</c:v>
                </c:pt>
                <c:pt idx="1">
                  <c:v>15.980143999999999</c:v>
                </c:pt>
                <c:pt idx="2">
                  <c:v>14.588436</c:v>
                </c:pt>
                <c:pt idx="3">
                  <c:v>12.655569</c:v>
                </c:pt>
                <c:pt idx="4">
                  <c:v>11.47528</c:v>
                </c:pt>
                <c:pt idx="5">
                  <c:v>5.9818119999999997</c:v>
                </c:pt>
                <c:pt idx="6">
                  <c:v>6.406377</c:v>
                </c:pt>
                <c:pt idx="7">
                  <c:v>8.9507290000000008</c:v>
                </c:pt>
                <c:pt idx="8">
                  <c:v>9.2324219999999997</c:v>
                </c:pt>
                <c:pt idx="9">
                  <c:v>8.7664209999999994</c:v>
                </c:pt>
                <c:pt idx="10">
                  <c:v>8.153648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0-400D-B174-6A57E646E29D}"/>
            </c:ext>
          </c:extLst>
        </c:ser>
        <c:ser>
          <c:idx val="3"/>
          <c:order val="4"/>
          <c:tx>
            <c:strRef>
              <c:f>data!$G$8</c:f>
              <c:strCache>
                <c:ptCount val="1"/>
                <c:pt idx="0">
                  <c:v>Altro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G$9:$G$19</c:f>
              <c:numCache>
                <c:formatCode>0</c:formatCode>
                <c:ptCount val="11"/>
                <c:pt idx="0">
                  <c:v>1.9853100000000019</c:v>
                </c:pt>
                <c:pt idx="1">
                  <c:v>2.7727089999999954</c:v>
                </c:pt>
                <c:pt idx="2">
                  <c:v>3.5255739999999989</c:v>
                </c:pt>
                <c:pt idx="3">
                  <c:v>3.9583979999999954</c:v>
                </c:pt>
                <c:pt idx="4">
                  <c:v>4.7055430000000058</c:v>
                </c:pt>
                <c:pt idx="5">
                  <c:v>3.9473689999999948</c:v>
                </c:pt>
                <c:pt idx="6">
                  <c:v>4.2629159999999899</c:v>
                </c:pt>
                <c:pt idx="7">
                  <c:v>5.5397880000000299</c:v>
                </c:pt>
                <c:pt idx="8">
                  <c:v>6.5444120000000225</c:v>
                </c:pt>
                <c:pt idx="9">
                  <c:v>7.7272439999999847</c:v>
                </c:pt>
                <c:pt idx="10">
                  <c:v>8.26645600000000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8F-4D85-A5AC-7762F6274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  <c:extLst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2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5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12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0.11944452326273002"/>
          <c:y val="0.81846637485729923"/>
          <c:w val="0.60351797837061583"/>
          <c:h val="9.4409791314303007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461</cdr:x>
      <cdr:y>0.04696</cdr:y>
    </cdr:from>
    <cdr:to>
      <cdr:x>0.19391</cdr:x>
      <cdr:y>0.093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46974" y="246348"/>
          <a:ext cx="1098877" cy="2420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DE" sz="1100" dirty="0" err="1">
              <a:solidFill>
                <a:schemeClr val="tx2"/>
              </a:solidFill>
            </a:rPr>
            <a:t>mio</a:t>
          </a:r>
          <a:r>
            <a:rPr lang="de-DE" sz="1100" dirty="0">
              <a:solidFill>
                <a:schemeClr val="tx2"/>
              </a:solidFill>
            </a:rPr>
            <a:t> di </a:t>
          </a:r>
          <a:r>
            <a:rPr lang="de-DE" sz="1100" dirty="0" err="1">
              <a:solidFill>
                <a:schemeClr val="tx2"/>
              </a:solidFill>
            </a:rPr>
            <a:t>bigl</a:t>
          </a:r>
          <a:r>
            <a:rPr lang="de-DE" sz="1100" dirty="0">
              <a:solidFill>
                <a:schemeClr val="tx2"/>
              </a:solidFill>
            </a:rPr>
            <a:t>./</a:t>
          </a:r>
          <a:r>
            <a:rPr lang="de-DE" sz="1100" dirty="0" err="1">
              <a:solidFill>
                <a:schemeClr val="tx2"/>
              </a:solidFill>
            </a:rPr>
            <a:t>abb.</a:t>
          </a:r>
          <a:endParaRPr lang="de-DE" sz="1100" dirty="0">
            <a:solidFill>
              <a:schemeClr val="tx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113044946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it-IT" dirty="0"/>
              <a:t>Vendita di biglietti per canale di vendita.</a:t>
            </a:r>
            <a:endParaRPr lang="de-CH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2066581" y="6046398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ltro: rinnovo automatico degli abbonamenti, partner di distribuzione e Contact Center FFS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38620" y="570945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495D51-1B8A-4B75-8C58-2D321C94BF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Vendita di biglietti per canale di vendita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ndita di biglietti per canale di vendita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